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sldIdLst>
    <p:sldId id="256" r:id="rId2"/>
    <p:sldId id="286" r:id="rId3"/>
    <p:sldId id="290" r:id="rId4"/>
    <p:sldId id="271" r:id="rId5"/>
    <p:sldId id="272" r:id="rId6"/>
    <p:sldId id="273" r:id="rId7"/>
    <p:sldId id="283" r:id="rId8"/>
    <p:sldId id="274" r:id="rId9"/>
    <p:sldId id="275" r:id="rId10"/>
    <p:sldId id="277" r:id="rId11"/>
    <p:sldId id="276" r:id="rId12"/>
    <p:sldId id="278" r:id="rId13"/>
    <p:sldId id="280" r:id="rId14"/>
    <p:sldId id="281" r:id="rId15"/>
    <p:sldId id="285" r:id="rId16"/>
    <p:sldId id="284" r:id="rId17"/>
    <p:sldId id="282" r:id="rId18"/>
    <p:sldId id="266" r:id="rId19"/>
    <p:sldId id="287" r:id="rId20"/>
    <p:sldId id="288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1E6FF9-002F-4374-AB8F-250232D45CA4}" v="9" dt="2021-11-30T23:18:17.775"/>
    <p1510:client id="{93D538E4-18A1-E62B-8349-7E41119AE95E}" v="30" dt="2021-11-30T23:02:29.729"/>
    <p1510:client id="{96A960F5-7ACE-4B4B-B243-781ED3FA8B94}" v="1017" dt="2021-12-01T01:19:00.465"/>
    <p1510:client id="{C0D9336F-E6C6-259E-E2B9-312B2FE24BB7}" v="1558" dt="2021-11-30T23:15:24.272"/>
    <p1510:client id="{E2154D5D-282D-05D3-800F-CB443A8F1D9E}" v="569" dt="2021-12-01T01:11:42.715"/>
    <p1510:client id="{FEDD2A60-EF75-CCAC-0C1D-2785DF97461F}" v="683" dt="2021-11-30T23:31:42.4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37"/>
  </p:normalViewPr>
  <p:slideViewPr>
    <p:cSldViewPr snapToGrid="0">
      <p:cViewPr varScale="1">
        <p:scale>
          <a:sx n="108" d="100"/>
          <a:sy n="108" d="100"/>
        </p:scale>
        <p:origin x="73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A184E0-2F56-49F8-93AA-A9E6FE7033CB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0B71FE1D-220A-4F9C-A2D9-D1115C4C0C02}">
      <dgm:prSet phldrT="[Text]" phldr="0"/>
      <dgm:spPr/>
      <dgm:t>
        <a:bodyPr/>
        <a:lstStyle/>
        <a:p>
          <a:endParaRPr lang="en-US" b="1">
            <a:solidFill>
              <a:schemeClr val="bg1"/>
            </a:solidFill>
          </a:endParaRPr>
        </a:p>
      </dgm:t>
    </dgm:pt>
    <dgm:pt modelId="{E60C306C-40CB-4022-9463-87B0F8FBC6A6}" type="parTrans" cxnId="{B310AB11-0AC3-4449-8B6F-B86B3EC48076}">
      <dgm:prSet/>
      <dgm:spPr/>
    </dgm:pt>
    <dgm:pt modelId="{3ADA6297-5BDE-4E2F-839D-7BCDE56F649C}" type="sibTrans" cxnId="{B310AB11-0AC3-4449-8B6F-B86B3EC48076}">
      <dgm:prSet/>
      <dgm:spPr/>
    </dgm:pt>
    <dgm:pt modelId="{DE43B4C8-0358-4CF9-AF5A-09D7F34481E3}">
      <dgm:prSet phldrT="[Text]" phldr="0"/>
      <dgm:spPr/>
      <dgm:t>
        <a:bodyPr/>
        <a:lstStyle/>
        <a:p>
          <a:pPr rtl="0"/>
          <a:endParaRPr lang="en-US" b="1">
            <a:solidFill>
              <a:schemeClr val="bg1"/>
            </a:solidFill>
          </a:endParaRPr>
        </a:p>
      </dgm:t>
    </dgm:pt>
    <dgm:pt modelId="{13EDDC86-DD2F-4C74-89CA-D2F8C67EE5F7}" type="parTrans" cxnId="{0DFE8D55-A49B-4BD0-B487-A85335BC7C57}">
      <dgm:prSet/>
      <dgm:spPr/>
    </dgm:pt>
    <dgm:pt modelId="{F4828B84-4BC4-4D5E-8C94-AC0188512791}" type="sibTrans" cxnId="{0DFE8D55-A49B-4BD0-B487-A85335BC7C57}">
      <dgm:prSet/>
      <dgm:spPr/>
    </dgm:pt>
    <dgm:pt modelId="{441A654A-86B5-4F5A-914B-25AEA530BCE3}">
      <dgm:prSet phldr="0"/>
      <dgm:spPr/>
      <dgm:t>
        <a:bodyPr/>
        <a:lstStyle/>
        <a:p>
          <a:pPr rtl="0"/>
          <a:endParaRPr lang="en-US" b="1">
            <a:latin typeface="Arial" panose="020B0604020202020204"/>
          </a:endParaRPr>
        </a:p>
      </dgm:t>
    </dgm:pt>
    <dgm:pt modelId="{62E24FC1-E4D0-482B-944A-F840BCD1D907}" type="parTrans" cxnId="{4249CDDB-49CF-4472-808A-E4D4235C655A}">
      <dgm:prSet/>
      <dgm:spPr/>
    </dgm:pt>
    <dgm:pt modelId="{8E8C6EAD-4BA0-4C9B-A099-BF955E1A63FA}" type="sibTrans" cxnId="{4249CDDB-49CF-4472-808A-E4D4235C655A}">
      <dgm:prSet/>
      <dgm:spPr/>
    </dgm:pt>
    <dgm:pt modelId="{59650E21-D687-45AD-BA5E-C8618325D746}" type="pres">
      <dgm:prSet presAssocID="{5EA184E0-2F56-49F8-93AA-A9E6FE7033CB}" presName="Name0" presStyleCnt="0">
        <dgm:presLayoutVars>
          <dgm:dir/>
          <dgm:animLvl val="lvl"/>
          <dgm:resizeHandles val="exact"/>
        </dgm:presLayoutVars>
      </dgm:prSet>
      <dgm:spPr/>
    </dgm:pt>
    <dgm:pt modelId="{8347B0D5-22C5-4368-85C3-0FF1AEF1A364}" type="pres">
      <dgm:prSet presAssocID="{0B71FE1D-220A-4F9C-A2D9-D1115C4C0C02}" presName="Name8" presStyleCnt="0"/>
      <dgm:spPr/>
    </dgm:pt>
    <dgm:pt modelId="{28B656AA-93BE-4F73-8D89-A65A51C4D7B0}" type="pres">
      <dgm:prSet presAssocID="{0B71FE1D-220A-4F9C-A2D9-D1115C4C0C02}" presName="level" presStyleLbl="node1" presStyleIdx="0" presStyleCnt="3">
        <dgm:presLayoutVars>
          <dgm:chMax val="1"/>
          <dgm:bulletEnabled val="1"/>
        </dgm:presLayoutVars>
      </dgm:prSet>
      <dgm:spPr/>
    </dgm:pt>
    <dgm:pt modelId="{1D630D13-A02C-44A6-AA54-6ED22FD69302}" type="pres">
      <dgm:prSet presAssocID="{0B71FE1D-220A-4F9C-A2D9-D1115C4C0C0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CDB7973-48BB-45DE-A20D-42C670C6A117}" type="pres">
      <dgm:prSet presAssocID="{DE43B4C8-0358-4CF9-AF5A-09D7F34481E3}" presName="Name8" presStyleCnt="0"/>
      <dgm:spPr/>
    </dgm:pt>
    <dgm:pt modelId="{FE05A5CD-C67A-4485-89D8-E709C114B52A}" type="pres">
      <dgm:prSet presAssocID="{DE43B4C8-0358-4CF9-AF5A-09D7F34481E3}" presName="level" presStyleLbl="node1" presStyleIdx="1" presStyleCnt="3">
        <dgm:presLayoutVars>
          <dgm:chMax val="1"/>
          <dgm:bulletEnabled val="1"/>
        </dgm:presLayoutVars>
      </dgm:prSet>
      <dgm:spPr/>
    </dgm:pt>
    <dgm:pt modelId="{B69B2D8F-A5E0-48F9-99FD-3D0DD0CD9024}" type="pres">
      <dgm:prSet presAssocID="{DE43B4C8-0358-4CF9-AF5A-09D7F34481E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836DD65-D648-4E2F-AF2F-EFD1402A64D1}" type="pres">
      <dgm:prSet presAssocID="{441A654A-86B5-4F5A-914B-25AEA530BCE3}" presName="Name8" presStyleCnt="0"/>
      <dgm:spPr/>
    </dgm:pt>
    <dgm:pt modelId="{C3C5B8A6-C528-4A93-BFDE-F8AD08B5872F}" type="pres">
      <dgm:prSet presAssocID="{441A654A-86B5-4F5A-914B-25AEA530BCE3}" presName="level" presStyleLbl="node1" presStyleIdx="2" presStyleCnt="3">
        <dgm:presLayoutVars>
          <dgm:chMax val="1"/>
          <dgm:bulletEnabled val="1"/>
        </dgm:presLayoutVars>
      </dgm:prSet>
      <dgm:spPr/>
    </dgm:pt>
    <dgm:pt modelId="{3DF15B2A-07A7-439E-9C0D-6F8746E94150}" type="pres">
      <dgm:prSet presAssocID="{441A654A-86B5-4F5A-914B-25AEA530BCE3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B1F4001-8F93-4D19-AB7A-A4A1CBD21729}" type="presOf" srcId="{0B71FE1D-220A-4F9C-A2D9-D1115C4C0C02}" destId="{28B656AA-93BE-4F73-8D89-A65A51C4D7B0}" srcOrd="0" destOrd="0" presId="urn:microsoft.com/office/officeart/2005/8/layout/pyramid3"/>
    <dgm:cxn modelId="{B310AB11-0AC3-4449-8B6F-B86B3EC48076}" srcId="{5EA184E0-2F56-49F8-93AA-A9E6FE7033CB}" destId="{0B71FE1D-220A-4F9C-A2D9-D1115C4C0C02}" srcOrd="0" destOrd="0" parTransId="{E60C306C-40CB-4022-9463-87B0F8FBC6A6}" sibTransId="{3ADA6297-5BDE-4E2F-839D-7BCDE56F649C}"/>
    <dgm:cxn modelId="{A5053523-FF3D-4081-A206-ACAAA70CF890}" type="presOf" srcId="{441A654A-86B5-4F5A-914B-25AEA530BCE3}" destId="{C3C5B8A6-C528-4A93-BFDE-F8AD08B5872F}" srcOrd="0" destOrd="0" presId="urn:microsoft.com/office/officeart/2005/8/layout/pyramid3"/>
    <dgm:cxn modelId="{02B2ED36-8A23-4D76-A66A-AE46126FA924}" type="presOf" srcId="{0B71FE1D-220A-4F9C-A2D9-D1115C4C0C02}" destId="{1D630D13-A02C-44A6-AA54-6ED22FD69302}" srcOrd="1" destOrd="0" presId="urn:microsoft.com/office/officeart/2005/8/layout/pyramid3"/>
    <dgm:cxn modelId="{E43E944A-81C9-4F22-AA37-D5545313500B}" type="presOf" srcId="{DE43B4C8-0358-4CF9-AF5A-09D7F34481E3}" destId="{FE05A5CD-C67A-4485-89D8-E709C114B52A}" srcOrd="0" destOrd="0" presId="urn:microsoft.com/office/officeart/2005/8/layout/pyramid3"/>
    <dgm:cxn modelId="{0DFE8D55-A49B-4BD0-B487-A85335BC7C57}" srcId="{5EA184E0-2F56-49F8-93AA-A9E6FE7033CB}" destId="{DE43B4C8-0358-4CF9-AF5A-09D7F34481E3}" srcOrd="1" destOrd="0" parTransId="{13EDDC86-DD2F-4C74-89CA-D2F8C67EE5F7}" sibTransId="{F4828B84-4BC4-4D5E-8C94-AC0188512791}"/>
    <dgm:cxn modelId="{28A10572-1E2D-4260-BAB1-6B9D913F1E4A}" type="presOf" srcId="{441A654A-86B5-4F5A-914B-25AEA530BCE3}" destId="{3DF15B2A-07A7-439E-9C0D-6F8746E94150}" srcOrd="1" destOrd="0" presId="urn:microsoft.com/office/officeart/2005/8/layout/pyramid3"/>
    <dgm:cxn modelId="{4D982875-45FE-4877-843C-1A3852DEB177}" type="presOf" srcId="{5EA184E0-2F56-49F8-93AA-A9E6FE7033CB}" destId="{59650E21-D687-45AD-BA5E-C8618325D746}" srcOrd="0" destOrd="0" presId="urn:microsoft.com/office/officeart/2005/8/layout/pyramid3"/>
    <dgm:cxn modelId="{C69D36A0-7F6A-4F24-B1CC-C66742AFE77D}" type="presOf" srcId="{DE43B4C8-0358-4CF9-AF5A-09D7F34481E3}" destId="{B69B2D8F-A5E0-48F9-99FD-3D0DD0CD9024}" srcOrd="1" destOrd="0" presId="urn:microsoft.com/office/officeart/2005/8/layout/pyramid3"/>
    <dgm:cxn modelId="{4249CDDB-49CF-4472-808A-E4D4235C655A}" srcId="{5EA184E0-2F56-49F8-93AA-A9E6FE7033CB}" destId="{441A654A-86B5-4F5A-914B-25AEA530BCE3}" srcOrd="2" destOrd="0" parTransId="{62E24FC1-E4D0-482B-944A-F840BCD1D907}" sibTransId="{8E8C6EAD-4BA0-4C9B-A099-BF955E1A63FA}"/>
    <dgm:cxn modelId="{3190E6B6-FFC4-445B-8A82-68759A161925}" type="presParOf" srcId="{59650E21-D687-45AD-BA5E-C8618325D746}" destId="{8347B0D5-22C5-4368-85C3-0FF1AEF1A364}" srcOrd="0" destOrd="0" presId="urn:microsoft.com/office/officeart/2005/8/layout/pyramid3"/>
    <dgm:cxn modelId="{92981ABF-1685-4E8E-9D11-7C12D415DCF4}" type="presParOf" srcId="{8347B0D5-22C5-4368-85C3-0FF1AEF1A364}" destId="{28B656AA-93BE-4F73-8D89-A65A51C4D7B0}" srcOrd="0" destOrd="0" presId="urn:microsoft.com/office/officeart/2005/8/layout/pyramid3"/>
    <dgm:cxn modelId="{54C6296E-7DA1-479F-97D5-5A24A8F71F11}" type="presParOf" srcId="{8347B0D5-22C5-4368-85C3-0FF1AEF1A364}" destId="{1D630D13-A02C-44A6-AA54-6ED22FD69302}" srcOrd="1" destOrd="0" presId="urn:microsoft.com/office/officeart/2005/8/layout/pyramid3"/>
    <dgm:cxn modelId="{E6CFE25C-A8B6-441E-B0B2-7EBBAB7F03B9}" type="presParOf" srcId="{59650E21-D687-45AD-BA5E-C8618325D746}" destId="{FCDB7973-48BB-45DE-A20D-42C670C6A117}" srcOrd="1" destOrd="0" presId="urn:microsoft.com/office/officeart/2005/8/layout/pyramid3"/>
    <dgm:cxn modelId="{0B23B019-126F-4846-8B2E-3769BCE10325}" type="presParOf" srcId="{FCDB7973-48BB-45DE-A20D-42C670C6A117}" destId="{FE05A5CD-C67A-4485-89D8-E709C114B52A}" srcOrd="0" destOrd="0" presId="urn:microsoft.com/office/officeart/2005/8/layout/pyramid3"/>
    <dgm:cxn modelId="{B845BB00-3768-40B5-9FA7-3B39EE23925C}" type="presParOf" srcId="{FCDB7973-48BB-45DE-A20D-42C670C6A117}" destId="{B69B2D8F-A5E0-48F9-99FD-3D0DD0CD9024}" srcOrd="1" destOrd="0" presId="urn:microsoft.com/office/officeart/2005/8/layout/pyramid3"/>
    <dgm:cxn modelId="{A5FC447F-F1D6-4D84-A75D-42D90590B02D}" type="presParOf" srcId="{59650E21-D687-45AD-BA5E-C8618325D746}" destId="{B836DD65-D648-4E2F-AF2F-EFD1402A64D1}" srcOrd="2" destOrd="0" presId="urn:microsoft.com/office/officeart/2005/8/layout/pyramid3"/>
    <dgm:cxn modelId="{05D62750-1751-4EE2-BE81-A5783869DF08}" type="presParOf" srcId="{B836DD65-D648-4E2F-AF2F-EFD1402A64D1}" destId="{C3C5B8A6-C528-4A93-BFDE-F8AD08B5872F}" srcOrd="0" destOrd="0" presId="urn:microsoft.com/office/officeart/2005/8/layout/pyramid3"/>
    <dgm:cxn modelId="{AEE17D8F-B2B9-4890-B19F-752AC7728B38}" type="presParOf" srcId="{B836DD65-D648-4E2F-AF2F-EFD1402A64D1}" destId="{3DF15B2A-07A7-439E-9C0D-6F8746E94150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B656AA-93BE-4F73-8D89-A65A51C4D7B0}">
      <dsp:nvSpPr>
        <dsp:cNvPr id="0" name=""/>
        <dsp:cNvSpPr/>
      </dsp:nvSpPr>
      <dsp:spPr>
        <a:xfrm rot="10800000">
          <a:off x="0" y="0"/>
          <a:ext cx="5457372" cy="1451428"/>
        </a:xfrm>
        <a:prstGeom prst="trapezoid">
          <a:avLst>
            <a:gd name="adj" fmla="val 6266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>
            <a:solidFill>
              <a:schemeClr val="bg1"/>
            </a:solidFill>
          </a:endParaRPr>
        </a:p>
      </dsp:txBody>
      <dsp:txXfrm rot="-10800000">
        <a:off x="955040" y="0"/>
        <a:ext cx="3547291" cy="1451428"/>
      </dsp:txXfrm>
    </dsp:sp>
    <dsp:sp modelId="{FE05A5CD-C67A-4485-89D8-E709C114B52A}">
      <dsp:nvSpPr>
        <dsp:cNvPr id="0" name=""/>
        <dsp:cNvSpPr/>
      </dsp:nvSpPr>
      <dsp:spPr>
        <a:xfrm rot="10800000">
          <a:off x="909562" y="1451428"/>
          <a:ext cx="3638248" cy="1451428"/>
        </a:xfrm>
        <a:prstGeom prst="trapezoid">
          <a:avLst>
            <a:gd name="adj" fmla="val 6266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>
            <a:solidFill>
              <a:schemeClr val="bg1"/>
            </a:solidFill>
          </a:endParaRPr>
        </a:p>
      </dsp:txBody>
      <dsp:txXfrm rot="-10800000">
        <a:off x="1546255" y="1451428"/>
        <a:ext cx="2364861" cy="1451428"/>
      </dsp:txXfrm>
    </dsp:sp>
    <dsp:sp modelId="{C3C5B8A6-C528-4A93-BFDE-F8AD08B5872F}">
      <dsp:nvSpPr>
        <dsp:cNvPr id="0" name=""/>
        <dsp:cNvSpPr/>
      </dsp:nvSpPr>
      <dsp:spPr>
        <a:xfrm rot="10800000">
          <a:off x="1819124" y="2902856"/>
          <a:ext cx="1819124" cy="1451428"/>
        </a:xfrm>
        <a:prstGeom prst="trapezoid">
          <a:avLst>
            <a:gd name="adj" fmla="val 6266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b="1" kern="1200">
            <a:latin typeface="Arial" panose="020B0604020202020204"/>
          </a:endParaRPr>
        </a:p>
      </dsp:txBody>
      <dsp:txXfrm rot="-10800000">
        <a:off x="1819124" y="2902856"/>
        <a:ext cx="1819124" cy="14514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8532C-18ED-4149-AA09-6188AAC4C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E03980-52C1-4179-ABAF-BAE416140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47822-8C7B-4F3D-A490-5F3433726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7515A7-FCE3-49E3-9403-675A35FBA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991631-1829-4252-B8C8-301327B6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7D6CB0-3E10-49EA-83AC-B6135A3C8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23F12B-98BD-4F5D-84BA-D636F5A45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067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359" imgH="355" progId="TCLayout.ActiveDocument.1">
                  <p:embed/>
                </p:oleObj>
              </mc:Choice>
              <mc:Fallback>
                <p:oleObj name="think-cell Slide" r:id="rId23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84" r:id="rId17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hyperlink" Target="https://github.com/tayadav/Data_visualization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0.xml"/><Relationship Id="rId7" Type="http://schemas.openxmlformats.org/officeDocument/2006/relationships/diagramLayout" Target="../diagrams/layout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1.bin"/><Relationship Id="rId9" Type="http://schemas.openxmlformats.org/officeDocument/2006/relationships/diagramColors" Target="../diagrams/colors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0">
                <a:ea typeface="+mj-lt"/>
                <a:cs typeface="+mj-lt"/>
              </a:rPr>
              <a:t>Flight Delays in the U.S.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US">
                <a:ea typeface="+mj-lt"/>
                <a:cs typeface="+mj-lt"/>
              </a:rPr>
              <a:t>Leveraging Delayed Arrivals for Monetary Compens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228C5D9-D841-4C61-9816-929B038A6EB9}"/>
              </a:ext>
            </a:extLst>
          </p:cNvPr>
          <p:cNvSpPr/>
          <p:nvPr/>
        </p:nvSpPr>
        <p:spPr>
          <a:xfrm>
            <a:off x="509239" y="1720385"/>
            <a:ext cx="2847277" cy="3900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D498263-B811-4D35-8DAC-A8F3B3EB16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D498263-B811-4D35-8DAC-A8F3B3EB1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21EACC4E-350E-46CE-8569-F54E8EE86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Airlines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F4A9851-FE3A-4C28-935C-EF3D66612747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cs typeface="Arial"/>
              </a:rPr>
              <a:t>Arrival Delays Seem Rather Normal to Airlines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40EB354-D77F-483A-B819-2A5317E247E8}"/>
              </a:ext>
            </a:extLst>
          </p:cNvPr>
          <p:cNvSpPr txBox="1"/>
          <p:nvPr/>
        </p:nvSpPr>
        <p:spPr>
          <a:xfrm>
            <a:off x="598016" y="2626308"/>
            <a:ext cx="2671281" cy="2361398"/>
          </a:xfrm>
          <a:prstGeom prst="rect">
            <a:avLst/>
          </a:prstGeom>
          <a:noFill/>
        </p:spPr>
        <p:txBody>
          <a:bodyPr wrap="square" lIns="72000" tIns="72000" rIns="72000" bIns="7200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err="1"/>
              <a:t>Majority</a:t>
            </a:r>
            <a:r>
              <a:rPr lang="it-IT"/>
              <a:t> of Airlines cause delay</a:t>
            </a:r>
          </a:p>
          <a:p>
            <a:pPr algn="l"/>
            <a:endParaRPr lang="it-IT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/>
              <a:t>Top 25%</a:t>
            </a:r>
            <a:r>
              <a:rPr lang="it-IT"/>
              <a:t>: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err="1">
                <a:cs typeface="Arial"/>
              </a:rPr>
              <a:t>Frontier</a:t>
            </a:r>
            <a:r>
              <a:rPr lang="it-IT">
                <a:cs typeface="Arial"/>
              </a:rPr>
              <a:t> Airli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>
                <a:cs typeface="Arial"/>
              </a:rPr>
              <a:t>Virgin Amer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err="1">
                <a:cs typeface="Arial"/>
              </a:rPr>
              <a:t>SkyWest</a:t>
            </a:r>
            <a:r>
              <a:rPr lang="it-IT">
                <a:cs typeface="Arial"/>
              </a:rPr>
              <a:t> Airli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err="1">
                <a:cs typeface="Arial"/>
              </a:rPr>
              <a:t>ExpressJet</a:t>
            </a:r>
            <a:endParaRPr lang="it-IT">
              <a:cs typeface="Arial"/>
            </a:endParaRPr>
          </a:p>
        </p:txBody>
      </p:sp>
      <p:pic>
        <p:nvPicPr>
          <p:cNvPr id="5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10911F07-827D-422E-B856-5CBA84D8C4A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451" r="-1306" b="12870"/>
          <a:stretch/>
        </p:blipFill>
        <p:spPr>
          <a:xfrm>
            <a:off x="5306742" y="1482414"/>
            <a:ext cx="5958435" cy="46424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298665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5F0CB8-A8B7-461B-AB01-2524758FC532}"/>
              </a:ext>
            </a:extLst>
          </p:cNvPr>
          <p:cNvSpPr/>
          <p:nvPr/>
        </p:nvSpPr>
        <p:spPr>
          <a:xfrm>
            <a:off x="509239" y="1720385"/>
            <a:ext cx="2847277" cy="3900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45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NYC Airports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ea typeface="+mj-lt"/>
                <a:cs typeface="+mj-lt"/>
              </a:rPr>
              <a:t>Newark (EWR) Generates the Most Delay on Air Travel in NYC  </a:t>
            </a:r>
            <a:endParaRPr lang="en-US"/>
          </a:p>
        </p:txBody>
      </p:sp>
      <p:pic>
        <p:nvPicPr>
          <p:cNvPr id="3" name="Picture 3" descr="Map&#10;&#10;Description automatically generated">
            <a:extLst>
              <a:ext uri="{FF2B5EF4-FFF2-40B4-BE49-F238E27FC236}">
                <a16:creationId xmlns:a16="http://schemas.microsoft.com/office/drawing/2014/main" id="{7C207B78-7F10-4E4F-B616-4D1A4D6BD0E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325" r="44" b="4261"/>
          <a:stretch/>
        </p:blipFill>
        <p:spPr>
          <a:xfrm>
            <a:off x="3715012" y="1479589"/>
            <a:ext cx="7633857" cy="41746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3C8A3E20-ED5F-4ABF-B5A4-AE1D7FC136F2}"/>
              </a:ext>
            </a:extLst>
          </p:cNvPr>
          <p:cNvSpPr txBox="1"/>
          <p:nvPr/>
        </p:nvSpPr>
        <p:spPr>
          <a:xfrm>
            <a:off x="690943" y="2074942"/>
            <a:ext cx="2671281" cy="3192394"/>
          </a:xfrm>
          <a:prstGeom prst="rect">
            <a:avLst/>
          </a:prstGeom>
          <a:noFill/>
        </p:spPr>
        <p:txBody>
          <a:bodyPr wrap="square" lIns="72000" tIns="72000" rIns="72000" bIns="7200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/>
              <a:t>All of the </a:t>
            </a:r>
            <a:r>
              <a:rPr lang="it-IT" err="1"/>
              <a:t>three</a:t>
            </a:r>
            <a:r>
              <a:rPr lang="it-IT"/>
              <a:t> (3) </a:t>
            </a:r>
            <a:r>
              <a:rPr lang="it-IT" err="1"/>
              <a:t>Airports</a:t>
            </a:r>
            <a:r>
              <a:rPr lang="it-IT"/>
              <a:t> show an </a:t>
            </a:r>
            <a:r>
              <a:rPr lang="it-IT" err="1"/>
              <a:t>average</a:t>
            </a:r>
            <a:r>
              <a:rPr lang="it-IT"/>
              <a:t> </a:t>
            </a:r>
            <a:r>
              <a:rPr lang="it-IT" err="1"/>
              <a:t>arrival</a:t>
            </a:r>
            <a:r>
              <a:rPr lang="it-IT"/>
              <a:t> delay for the </a:t>
            </a:r>
            <a:r>
              <a:rPr lang="it-IT" err="1"/>
              <a:t>destinations</a:t>
            </a:r>
            <a:r>
              <a:rPr lang="it-IT"/>
              <a:t> </a:t>
            </a:r>
            <a:r>
              <a:rPr lang="it-IT" err="1"/>
              <a:t>they</a:t>
            </a:r>
            <a:r>
              <a:rPr lang="it-IT"/>
              <a:t> serve</a:t>
            </a:r>
          </a:p>
          <a:p>
            <a:pPr algn="l"/>
            <a:endParaRPr lang="it-IT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/>
              <a:t>Newark Liberty Airport (EWR)</a:t>
            </a:r>
            <a:r>
              <a:rPr lang="it-IT"/>
              <a:t> with </a:t>
            </a:r>
            <a:r>
              <a:rPr lang="it-IT" err="1"/>
              <a:t>highest</a:t>
            </a:r>
            <a:r>
              <a:rPr lang="it-IT"/>
              <a:t> </a:t>
            </a:r>
            <a:r>
              <a:rPr lang="it-IT" err="1"/>
              <a:t>average</a:t>
            </a:r>
            <a:r>
              <a:rPr lang="it-IT"/>
              <a:t> </a:t>
            </a:r>
            <a:r>
              <a:rPr lang="it-IT" err="1"/>
              <a:t>arrival</a:t>
            </a:r>
            <a:r>
              <a:rPr lang="it-IT"/>
              <a:t> delay </a:t>
            </a:r>
            <a:r>
              <a:rPr lang="it-IT" err="1"/>
              <a:t>among</a:t>
            </a:r>
            <a:r>
              <a:rPr lang="it-IT"/>
              <a:t>  </a:t>
            </a:r>
            <a:r>
              <a:rPr lang="it-IT" err="1"/>
              <a:t>airports</a:t>
            </a:r>
            <a:endParaRPr lang="it-IT" err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8431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31EC05-C5AE-4B70-8787-551B836B5084}"/>
              </a:ext>
            </a:extLst>
          </p:cNvPr>
          <p:cNvSpPr/>
          <p:nvPr/>
        </p:nvSpPr>
        <p:spPr>
          <a:xfrm>
            <a:off x="509239" y="1720385"/>
            <a:ext cx="2847277" cy="3900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Destination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cs typeface="Arial"/>
              </a:rPr>
              <a:t>Destinations with Highest Delay per Range</a:t>
            </a:r>
          </a:p>
        </p:txBody>
      </p:sp>
      <p:pic>
        <p:nvPicPr>
          <p:cNvPr id="2" name="Picture 2" descr="Map&#10;&#10;Description automatically generated">
            <a:extLst>
              <a:ext uri="{FF2B5EF4-FFF2-40B4-BE49-F238E27FC236}">
                <a16:creationId xmlns:a16="http://schemas.microsoft.com/office/drawing/2014/main" id="{BAEE3AB2-9180-4AD0-8BC4-A65830DA6EB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797" t="535" r="669" b="4016"/>
          <a:stretch/>
        </p:blipFill>
        <p:spPr>
          <a:xfrm>
            <a:off x="3564548" y="1548490"/>
            <a:ext cx="7785220" cy="44145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4F4636BE-366A-43D3-BA2C-9D3EC75BAA8A}"/>
              </a:ext>
            </a:extLst>
          </p:cNvPr>
          <p:cNvSpPr txBox="1"/>
          <p:nvPr/>
        </p:nvSpPr>
        <p:spPr>
          <a:xfrm>
            <a:off x="690943" y="2000600"/>
            <a:ext cx="2671281" cy="1530401"/>
          </a:xfrm>
          <a:prstGeom prst="rect">
            <a:avLst/>
          </a:prstGeom>
          <a:noFill/>
        </p:spPr>
        <p:txBody>
          <a:bodyPr wrap="square" lIns="72000" tIns="72000" rIns="72000" bIns="72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err="1"/>
              <a:t>It</a:t>
            </a:r>
            <a:r>
              <a:rPr lang="it-IT"/>
              <a:t> </a:t>
            </a:r>
            <a:r>
              <a:rPr lang="it-IT" err="1"/>
              <a:t>is</a:t>
            </a:r>
            <a:r>
              <a:rPr lang="it-IT"/>
              <a:t> </a:t>
            </a:r>
            <a:r>
              <a:rPr lang="it-IT" err="1"/>
              <a:t>possible</a:t>
            </a:r>
            <a:r>
              <a:rPr lang="it-IT"/>
              <a:t> to </a:t>
            </a:r>
            <a:r>
              <a:rPr lang="it-IT" err="1"/>
              <a:t>differentiate</a:t>
            </a:r>
            <a:r>
              <a:rPr lang="it-IT"/>
              <a:t> </a:t>
            </a:r>
            <a:r>
              <a:rPr lang="it-IT" err="1"/>
              <a:t>between</a:t>
            </a:r>
            <a:r>
              <a:rPr lang="it-IT"/>
              <a:t> </a:t>
            </a:r>
            <a:r>
              <a:rPr lang="it-IT" b="1"/>
              <a:t>short, medium</a:t>
            </a:r>
            <a:r>
              <a:rPr lang="it-IT"/>
              <a:t> and </a:t>
            </a:r>
            <a:r>
              <a:rPr lang="it-IT" b="1"/>
              <a:t>long</a:t>
            </a:r>
            <a:r>
              <a:rPr lang="it-IT"/>
              <a:t> range</a:t>
            </a:r>
            <a:endParaRPr lang="it-IT">
              <a:cs typeface="Arial"/>
            </a:endParaRPr>
          </a:p>
        </p:txBody>
      </p:sp>
      <p:sp>
        <p:nvSpPr>
          <p:cNvPr id="13" name="CasellaDiTesto 5">
            <a:extLst>
              <a:ext uri="{FF2B5EF4-FFF2-40B4-BE49-F238E27FC236}">
                <a16:creationId xmlns:a16="http://schemas.microsoft.com/office/drawing/2014/main" id="{D5B63131-D69D-4CF3-B305-FEF3C5C6AC5F}"/>
              </a:ext>
            </a:extLst>
          </p:cNvPr>
          <p:cNvSpPr txBox="1"/>
          <p:nvPr/>
        </p:nvSpPr>
        <p:spPr>
          <a:xfrm>
            <a:off x="690942" y="3629916"/>
            <a:ext cx="2671281" cy="1807400"/>
          </a:xfrm>
          <a:prstGeom prst="rect">
            <a:avLst/>
          </a:prstGeom>
          <a:noFill/>
        </p:spPr>
        <p:txBody>
          <a:bodyPr wrap="square" lIns="72000" tIns="72000" rIns="72000" bIns="72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/>
              <a:t>Columbus</a:t>
            </a:r>
            <a:r>
              <a:rPr lang="it-IT"/>
              <a:t>, </a:t>
            </a:r>
            <a:r>
              <a:rPr lang="it-IT" b="1"/>
              <a:t>Minneapolis </a:t>
            </a:r>
            <a:r>
              <a:rPr lang="it-IT"/>
              <a:t>and </a:t>
            </a:r>
            <a:r>
              <a:rPr lang="it-IT" b="1"/>
              <a:t>San Francisco</a:t>
            </a:r>
            <a:r>
              <a:rPr lang="it-IT"/>
              <a:t> produce </a:t>
            </a:r>
            <a:r>
              <a:rPr lang="it-IT" err="1"/>
              <a:t>highest</a:t>
            </a:r>
            <a:r>
              <a:rPr lang="it-IT"/>
              <a:t> </a:t>
            </a:r>
            <a:r>
              <a:rPr lang="it-IT" err="1"/>
              <a:t>average</a:t>
            </a:r>
            <a:r>
              <a:rPr lang="it-IT"/>
              <a:t> delays in </a:t>
            </a:r>
            <a:r>
              <a:rPr lang="it-IT" err="1"/>
              <a:t>their</a:t>
            </a:r>
            <a:r>
              <a:rPr lang="it-IT"/>
              <a:t> range </a:t>
            </a:r>
            <a:r>
              <a:rPr lang="it-IT" err="1"/>
              <a:t>category</a:t>
            </a:r>
            <a:endParaRPr lang="it-IT" err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1430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ea typeface="+mj-lt"/>
                <a:cs typeface="+mj-lt"/>
              </a:rPr>
              <a:t>Conclusion</a:t>
            </a:r>
            <a:endParaRPr lang="en-US"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cs typeface="Arial"/>
              </a:rPr>
              <a:t>Final Travel Recommendations for Students</a:t>
            </a:r>
          </a:p>
        </p:txBody>
      </p:sp>
    </p:spTree>
    <p:extLst>
      <p:ext uri="{BB962C8B-B14F-4D97-AF65-F5344CB8AC3E}">
        <p14:creationId xmlns:p14="http://schemas.microsoft.com/office/powerpoint/2010/main" val="39019206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BEF35A-FFF5-43F3-9FF3-5F7C42A0E0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BEF35A-FFF5-43F3-9FF3-5F7C42A0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24B0E45-7494-44CC-B05F-2E6C6BA86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Conclusion</a:t>
            </a:r>
          </a:p>
          <a:p>
            <a:endParaRPr lang="en-GB"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58FF5-256D-4726-AE79-AA96B95C91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endParaRPr lang="it-IT" sz="2400">
              <a:cs typeface="Arial"/>
            </a:endParaRPr>
          </a:p>
          <a:p>
            <a:endParaRPr lang="it-IT" sz="1600">
              <a:cs typeface="Arial"/>
            </a:endParaRPr>
          </a:p>
          <a:p>
            <a:endParaRPr lang="en-GB"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FF0000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0" lvl="1" indent="0">
              <a:buNone/>
            </a:pPr>
            <a:endParaRPr lang="en-GB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AFC7C9-5D60-48B8-AA96-A2BCD30E9A7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cs typeface="Arial"/>
              </a:rPr>
              <a:t>Summer – Evening - Newark Airport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C5DE2552-FFE4-4A74-83FB-8C8A5EB97C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84610" y="4903530"/>
            <a:ext cx="2288275" cy="1429597"/>
          </a:xfrm>
          <a:prstGeom prst="rect">
            <a:avLst/>
          </a:prstGeom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C52E7551-1687-4FA6-80F6-5BB04889DE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81267" y="4124609"/>
            <a:ext cx="2402006" cy="14179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C452551-C69B-4CDE-82CF-35ABDC970A9B}"/>
              </a:ext>
            </a:extLst>
          </p:cNvPr>
          <p:cNvSpPr txBox="1"/>
          <p:nvPr/>
        </p:nvSpPr>
        <p:spPr>
          <a:xfrm>
            <a:off x="681667" y="2040709"/>
            <a:ext cx="3153016" cy="6994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Short-range: Columbus, OH</a:t>
            </a:r>
          </a:p>
          <a:p>
            <a:pPr algn="ctr"/>
            <a:r>
              <a:rPr lang="en-US" i="1">
                <a:cs typeface="Arial"/>
              </a:rPr>
              <a:t>ExpressJe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B33ADB-43EB-429B-B14E-A9AEC17DA022}"/>
              </a:ext>
            </a:extLst>
          </p:cNvPr>
          <p:cNvSpPr txBox="1"/>
          <p:nvPr/>
        </p:nvSpPr>
        <p:spPr>
          <a:xfrm>
            <a:off x="4238408" y="2040708"/>
            <a:ext cx="3469877" cy="6994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Medium-range:</a:t>
            </a:r>
            <a:r>
              <a:rPr lang="en-US">
                <a:ea typeface="+mn-lt"/>
                <a:cs typeface="+mn-lt"/>
              </a:rPr>
              <a:t> Minneapolis, MN</a:t>
            </a:r>
          </a:p>
          <a:p>
            <a:pPr algn="ctr"/>
            <a:r>
              <a:rPr lang="en-US" i="1">
                <a:cs typeface="Arial" panose="020B0604020202020204"/>
              </a:rPr>
              <a:t>ExpressJ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C80B1A-0EA8-4C67-AD83-D66850839489}"/>
              </a:ext>
            </a:extLst>
          </p:cNvPr>
          <p:cNvSpPr txBox="1"/>
          <p:nvPr/>
        </p:nvSpPr>
        <p:spPr>
          <a:xfrm>
            <a:off x="8171385" y="2041724"/>
            <a:ext cx="3539318" cy="6994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Long-range: San Francisco, CA</a:t>
            </a:r>
          </a:p>
          <a:p>
            <a:pPr algn="ctr"/>
            <a:r>
              <a:rPr lang="en-US" i="1">
                <a:cs typeface="Arial"/>
              </a:rPr>
              <a:t>Virgin America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CE17A49-A165-43F1-963C-5F0F3F912157}"/>
              </a:ext>
            </a:extLst>
          </p:cNvPr>
          <p:cNvCxnSpPr/>
          <p:nvPr/>
        </p:nvCxnSpPr>
        <p:spPr>
          <a:xfrm flipH="1">
            <a:off x="2169568" y="2739361"/>
            <a:ext cx="6823" cy="675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07A0E71-FBB8-4129-B4FE-D90EC76B49EB}"/>
              </a:ext>
            </a:extLst>
          </p:cNvPr>
          <p:cNvCxnSpPr>
            <a:cxnSpLocks/>
          </p:cNvCxnSpPr>
          <p:nvPr/>
        </p:nvCxnSpPr>
        <p:spPr>
          <a:xfrm>
            <a:off x="9921495" y="2716615"/>
            <a:ext cx="15923" cy="21199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B840CBF-EF36-41EF-9918-3756C4001DEA}"/>
              </a:ext>
            </a:extLst>
          </p:cNvPr>
          <p:cNvCxnSpPr>
            <a:cxnSpLocks/>
          </p:cNvCxnSpPr>
          <p:nvPr/>
        </p:nvCxnSpPr>
        <p:spPr>
          <a:xfrm flipH="1">
            <a:off x="5922701" y="2739360"/>
            <a:ext cx="18196" cy="13465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6" descr="Airplane with solid fill">
            <a:extLst>
              <a:ext uri="{FF2B5EF4-FFF2-40B4-BE49-F238E27FC236}">
                <a16:creationId xmlns:a16="http://schemas.microsoft.com/office/drawing/2014/main" id="{B2C5C941-B61E-4593-9BA4-B1F7D6D9B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1942531" y="2858068"/>
            <a:ext cx="459476" cy="425356"/>
          </a:xfrm>
          <a:prstGeom prst="rect">
            <a:avLst/>
          </a:prstGeom>
        </p:spPr>
      </p:pic>
      <p:pic>
        <p:nvPicPr>
          <p:cNvPr id="19" name="Graphic 16" descr="Airplane with solid fill">
            <a:extLst>
              <a:ext uri="{FF2B5EF4-FFF2-40B4-BE49-F238E27FC236}">
                <a16:creationId xmlns:a16="http://schemas.microsoft.com/office/drawing/2014/main" id="{3FD3A0A5-F2C1-447C-8D3C-F80F71E306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5604679" y="3119651"/>
            <a:ext cx="652820" cy="618699"/>
          </a:xfrm>
          <a:prstGeom prst="rect">
            <a:avLst/>
          </a:prstGeom>
        </p:spPr>
      </p:pic>
      <p:pic>
        <p:nvPicPr>
          <p:cNvPr id="20" name="Graphic 16" descr="Airplane with solid fill">
            <a:extLst>
              <a:ext uri="{FF2B5EF4-FFF2-40B4-BE49-F238E27FC236}">
                <a16:creationId xmlns:a16="http://schemas.microsoft.com/office/drawing/2014/main" id="{EAC8308A-DA9B-4F89-9400-0780A3FBD8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9423352" y="3442222"/>
            <a:ext cx="1028132" cy="994012"/>
          </a:xfrm>
          <a:prstGeom prst="rect">
            <a:avLst/>
          </a:prstGeom>
        </p:spPr>
      </p:pic>
      <p:pic>
        <p:nvPicPr>
          <p:cNvPr id="21" name="Picture 21">
            <a:extLst>
              <a:ext uri="{FF2B5EF4-FFF2-40B4-BE49-F238E27FC236}">
                <a16:creationId xmlns:a16="http://schemas.microsoft.com/office/drawing/2014/main" id="{77B45275-241F-4F38-898E-95F7BF4502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8131" y="3442222"/>
            <a:ext cx="2379261" cy="146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725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ea typeface="+mj-lt"/>
                <a:cs typeface="+mj-lt"/>
              </a:rPr>
              <a:t>Discussion and Critiqu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cs typeface="Arial"/>
              </a:rPr>
              <a:t>Final Reflection on the Analysis Conduct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6312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BEF35A-FFF5-43F3-9FF3-5F7C42A0E0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BEF35A-FFF5-43F3-9FF3-5F7C42A0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24B0E45-7494-44CC-B05F-2E6C6BA86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Discussion &amp; Critique</a:t>
            </a:r>
          </a:p>
          <a:p>
            <a:endParaRPr lang="en-GB"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58FF5-256D-4726-AE79-AA96B95C91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4817" y="1450704"/>
            <a:ext cx="10944225" cy="4500562"/>
          </a:xfrm>
        </p:spPr>
        <p:txBody>
          <a:bodyPr vert="horz" lIns="0" tIns="72000" rIns="0" bIns="72000" rtlCol="0" anchor="t">
            <a:noAutofit/>
          </a:bodyPr>
          <a:lstStyle/>
          <a:p>
            <a:r>
              <a:rPr lang="en-GB" u="sng">
                <a:cs typeface="Arial"/>
              </a:rPr>
              <a:t>Analysis: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Insightful</a:t>
            </a:r>
          </a:p>
          <a:p>
            <a:pPr marL="457200" indent="-457200">
              <a:buChar char="•"/>
            </a:pPr>
            <a:r>
              <a:rPr lang="en-GB">
                <a:ea typeface="+mn-lt"/>
                <a:cs typeface="+mn-lt"/>
              </a:rPr>
              <a:t>Data preparation (e.g., Missing columns) </a:t>
            </a: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r>
              <a:rPr lang="en-GB" u="sng">
                <a:cs typeface="Arial"/>
              </a:rPr>
              <a:t>Potential Future Opportunities: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Destinations outside of US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Fix issues with External Validity (e.g., longer timeframe)</a:t>
            </a: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FF0000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0" lvl="1" indent="0">
              <a:buNone/>
            </a:pP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78730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ea typeface="+mj-lt"/>
                <a:cs typeface="+mj-lt"/>
              </a:rPr>
              <a:t>Thank You for Listening!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cs typeface="Arial"/>
              </a:rPr>
              <a:t>For more information, please visit: </a:t>
            </a:r>
            <a:endParaRPr lang="en-US">
              <a:cs typeface="Arial"/>
            </a:endParaRPr>
          </a:p>
          <a:p>
            <a:r>
              <a:rPr lang="en-GB">
                <a:ea typeface="+mj-lt"/>
                <a:cs typeface="+mj-lt"/>
                <a:hlinkClick r:id="rId6"/>
              </a:rPr>
              <a:t>https://github.com/tayadav/Data_visualization</a:t>
            </a: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05299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E9B16E-DA96-436C-8CBB-A9EC18FF7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55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E9B16E-DA96-436C-8CBB-A9EC18FF7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224560-44AA-4F57-BC2B-E0AF5E5344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DD7833-19BF-426C-882C-647AB60CEE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344897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lide10" descr="NYC Flights">
            <a:extLst>
              <a:ext uri="{FF2B5EF4-FFF2-40B4-BE49-F238E27FC236}">
                <a16:creationId xmlns:a16="http://schemas.microsoft.com/office/drawing/2014/main" id="{E6E17593-105E-468B-8798-4AB66EB19E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1421"/>
            <a:ext cx="12192001" cy="5775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25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1925" y="427987"/>
            <a:ext cx="7380287" cy="846010"/>
          </a:xfrm>
        </p:spPr>
        <p:txBody>
          <a:bodyPr vert="horz" lIns="0" tIns="72000" rIns="0" bIns="72000" rtlCol="0" anchor="t">
            <a:noAutofit/>
          </a:bodyPr>
          <a:lstStyle/>
          <a:p>
            <a:pPr algn="l"/>
            <a:r>
              <a:rPr lang="en-GB"/>
              <a:t>Content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71923" y="1663040"/>
            <a:ext cx="7380288" cy="738187"/>
          </a:xfrm>
        </p:spPr>
        <p:txBody>
          <a:bodyPr vert="horz" lIns="0" tIns="72000" rIns="0" bIns="72000" rtlCol="0" anchor="t">
            <a:noAutofit/>
          </a:bodyPr>
          <a:lstStyle/>
          <a:p>
            <a:pPr algn="l"/>
            <a:r>
              <a:rPr lang="en-GB">
                <a:cs typeface="Arial"/>
              </a:rPr>
              <a:t>1. Context</a:t>
            </a:r>
          </a:p>
          <a:p>
            <a:pPr algn="l"/>
            <a:r>
              <a:rPr lang="en-GB">
                <a:cs typeface="Arial"/>
              </a:rPr>
              <a:t>2. Data Overview</a:t>
            </a:r>
          </a:p>
          <a:p>
            <a:pPr algn="l"/>
            <a:r>
              <a:rPr lang="en-GB">
                <a:cs typeface="Arial"/>
              </a:rPr>
              <a:t>3. Deep-Dive Analysis</a:t>
            </a:r>
          </a:p>
          <a:p>
            <a:pPr algn="l"/>
            <a:r>
              <a:rPr lang="en-GB">
                <a:cs typeface="Arial"/>
              </a:rPr>
              <a:t>4. Conclusion</a:t>
            </a:r>
          </a:p>
          <a:p>
            <a:pPr algn="l"/>
            <a:r>
              <a:rPr lang="en-GB">
                <a:cs typeface="Arial"/>
              </a:rPr>
              <a:t>5. Discussion and Critique</a:t>
            </a:r>
          </a:p>
          <a:p>
            <a:pPr algn="l"/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43808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Season For Appendix">
            <a:extLst>
              <a:ext uri="{FF2B5EF4-FFF2-40B4-BE49-F238E27FC236}">
                <a16:creationId xmlns:a16="http://schemas.microsoft.com/office/drawing/2014/main" id="{E7DDA0AE-3783-494C-BBE5-BA6687C3DE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585" y="0"/>
            <a:ext cx="76288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46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/>
              <a:t>Context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 sz="2400">
                <a:cs typeface="Arial"/>
              </a:rPr>
              <a:t>Travel Opportunities for U.S. GIFT Participants</a:t>
            </a:r>
          </a:p>
        </p:txBody>
      </p:sp>
    </p:spTree>
    <p:extLst>
      <p:ext uri="{BB962C8B-B14F-4D97-AF65-F5344CB8AC3E}">
        <p14:creationId xmlns:p14="http://schemas.microsoft.com/office/powerpoint/2010/main" val="3848138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D498263-B811-4D35-8DAC-A8F3B3EB16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D498263-B811-4D35-8DAC-A8F3B3EB1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21EACC4E-350E-46CE-8569-F54E8EE86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Travel Hack for U.S. GIF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B772F0-3879-488D-9105-2FFE5FD621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180000" tIns="180000" rIns="216000" bIns="180000" rtlCol="0" anchor="t">
            <a:noAutofit/>
          </a:bodyPr>
          <a:lstStyle/>
          <a:p>
            <a:pPr marL="457200" indent="-457200">
              <a:buChar char="•"/>
            </a:pPr>
            <a:r>
              <a:rPr lang="en-GB" sz="2000" b="1">
                <a:cs typeface="Arial" panose="020B0604020202020204"/>
              </a:rPr>
              <a:t>Situation:</a:t>
            </a:r>
            <a:r>
              <a:rPr lang="en-GB" sz="2000">
                <a:cs typeface="Arial" panose="020B0604020202020204"/>
              </a:rPr>
              <a:t> Student looking for cheap travel options</a:t>
            </a:r>
          </a:p>
          <a:p>
            <a:pPr marL="457200" indent="-457200">
              <a:buChar char="•"/>
            </a:pPr>
            <a:r>
              <a:rPr lang="en-GB" sz="2000" b="1">
                <a:cs typeface="Arial" panose="020B0604020202020204"/>
              </a:rPr>
              <a:t>Analysis:</a:t>
            </a:r>
            <a:r>
              <a:rPr lang="en-GB" sz="2000">
                <a:cs typeface="Arial" panose="020B0604020202020204"/>
              </a:rPr>
              <a:t> Explore NYC airports for patterns in arrival delays</a:t>
            </a:r>
          </a:p>
          <a:p>
            <a:pPr marL="457200" indent="-457200">
              <a:buChar char="•"/>
            </a:pPr>
            <a:r>
              <a:rPr lang="en-GB" sz="2000" b="1">
                <a:cs typeface="Arial" panose="020B0604020202020204"/>
              </a:rPr>
              <a:t>Goal:</a:t>
            </a:r>
            <a:r>
              <a:rPr lang="en-GB" sz="2000">
                <a:cs typeface="Arial" panose="020B0604020202020204"/>
              </a:rPr>
              <a:t> Provide recommendation on cheap travel opportunities (high probability of monetary compensation)</a:t>
            </a:r>
          </a:p>
        </p:txBody>
      </p:sp>
      <p:pic>
        <p:nvPicPr>
          <p:cNvPr id="2" name="Picture 2" descr="A picture containing text, sky, sign&#10;&#10;Description automatically generated">
            <a:extLst>
              <a:ext uri="{FF2B5EF4-FFF2-40B4-BE49-F238E27FC236}">
                <a16:creationId xmlns:a16="http://schemas.microsoft.com/office/drawing/2014/main" id="{11301DAE-D451-44B8-8A06-8D59E2276058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 rotWithShape="1">
          <a:blip r:embed="rId6"/>
          <a:srcRect t="8993" b="8993"/>
          <a:stretch/>
        </p:blipFill>
        <p:spPr>
          <a:xfrm>
            <a:off x="4696619" y="1376364"/>
            <a:ext cx="6000749" cy="4500562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F4A9851-FE3A-4C28-935C-EF3D66612747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cs typeface="Arial"/>
              </a:rPr>
              <a:t>Flight Delays Provide Monetary Compensation that Enable Free Flights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B951A-AF57-4645-A13B-FAC5EC4A2FAA}"/>
              </a:ext>
            </a:extLst>
          </p:cNvPr>
          <p:cNvSpPr txBox="1"/>
          <p:nvPr/>
        </p:nvSpPr>
        <p:spPr>
          <a:xfrm>
            <a:off x="8948057" y="5914571"/>
            <a:ext cx="2743200" cy="3146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>
                <a:solidFill>
                  <a:srgbClr val="000000"/>
                </a:solidFill>
              </a:rPr>
              <a:t>Source: </a:t>
            </a:r>
            <a:r>
              <a:rPr lang="en-US" sz="1050">
                <a:solidFill>
                  <a:srgbClr val="000000"/>
                </a:solidFill>
                <a:ea typeface="+mn-lt"/>
                <a:cs typeface="+mn-lt"/>
              </a:rPr>
              <a:t>tamarathiessen.com</a:t>
            </a:r>
            <a:endParaRPr lang="en-US" sz="105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8693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/>
              <a:t>Data Overview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cs typeface="Arial"/>
              </a:rPr>
              <a:t>Brief Insights and Meth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952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BEF35A-FFF5-43F3-9FF3-5F7C42A0E0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BEF35A-FFF5-43F3-9FF3-5F7C42A0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24B0E45-7494-44CC-B05F-2E6C6BA86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Kaggle Dataset: </a:t>
            </a:r>
            <a:r>
              <a:rPr lang="en-GB"/>
              <a:t>New York City Airport Activity</a:t>
            </a:r>
            <a:endParaRPr lang="en-GB">
              <a:cs typeface="Arial"/>
            </a:endParaRPr>
          </a:p>
          <a:p>
            <a:endParaRPr lang="en-GB"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58FF5-256D-4726-AE79-AA96B95C91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/>
              <a:t>Overview: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~33,000 flights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3 Airports: JFK, LaGuardia, Newark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16 Carriers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&gt;100 destinations across the US</a:t>
            </a:r>
          </a:p>
          <a:p>
            <a:pPr marL="457200" indent="-457200">
              <a:buChar char="•"/>
            </a:pPr>
            <a:r>
              <a:rPr lang="en-GB">
                <a:cs typeface="Arial"/>
              </a:rPr>
              <a:t>Refund for arrival delay &gt;180 min</a:t>
            </a: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0" lvl="1" indent="0">
              <a:buNone/>
            </a:pPr>
            <a:endParaRPr lang="en-GB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AFC7C9-5D60-48B8-AA96-A2BCD30E9A7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/>
              <a:t>Collection of flight meta data on NYC airports</a:t>
            </a:r>
            <a:endParaRPr lang="en-US"/>
          </a:p>
          <a:p>
            <a:endParaRPr lang="en-GB">
              <a:cs typeface="Arial"/>
            </a:endParaRPr>
          </a:p>
        </p:txBody>
      </p:sp>
      <p:pic>
        <p:nvPicPr>
          <p:cNvPr id="5" name="Picture 7" descr="Map&#10;&#10;Description automatically generated">
            <a:extLst>
              <a:ext uri="{FF2B5EF4-FFF2-40B4-BE49-F238E27FC236}">
                <a16:creationId xmlns:a16="http://schemas.microsoft.com/office/drawing/2014/main" id="{5E360736-F4DF-463F-9C42-C6BBA28CFF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7371" y="1544558"/>
            <a:ext cx="5101771" cy="30141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95658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BEF35A-FFF5-43F3-9FF3-5F7C42A0E0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BEF35A-FFF5-43F3-9FF3-5F7C42A0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24B0E45-7494-44CC-B05F-2E6C6BA86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Top-Down Approach</a:t>
            </a:r>
          </a:p>
          <a:p>
            <a:endParaRPr lang="en-GB"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58FF5-256D-4726-AE79-AA96B95C91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endParaRPr lang="en-GB">
              <a:cs typeface="Arial"/>
            </a:endParaRPr>
          </a:p>
          <a:p>
            <a:pPr marL="457200" indent="-457200">
              <a:buChar char="•"/>
            </a:pPr>
            <a:endParaRPr lang="en-GB">
              <a:solidFill>
                <a:srgbClr val="001E61"/>
              </a:solidFill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457200" indent="-457200">
              <a:buChar char="•"/>
            </a:pPr>
            <a:endParaRPr lang="en-GB">
              <a:cs typeface="Arial"/>
            </a:endParaRPr>
          </a:p>
          <a:p>
            <a:pPr marL="0" lvl="1" indent="0">
              <a:buNone/>
            </a:pPr>
            <a:endParaRPr lang="en-GB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AFC7C9-5D60-48B8-AA96-A2BCD30E9A7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/>
              <a:t>Cleaning, Investigating, Analysing, Concluding</a:t>
            </a:r>
            <a:endParaRPr lang="en-US"/>
          </a:p>
          <a:p>
            <a:endParaRPr lang="en-GB">
              <a:cs typeface="Arial"/>
            </a:endParaRPr>
          </a:p>
        </p:txBody>
      </p:sp>
      <p:graphicFrame>
        <p:nvGraphicFramePr>
          <p:cNvPr id="2" name="Diagram 7">
            <a:extLst>
              <a:ext uri="{FF2B5EF4-FFF2-40B4-BE49-F238E27FC236}">
                <a16:creationId xmlns:a16="http://schemas.microsoft.com/office/drawing/2014/main" id="{B1819FB5-DC6E-4BAB-8EED-4ED2217D17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5585928"/>
              </p:ext>
            </p:extLst>
          </p:nvPr>
        </p:nvGraphicFramePr>
        <p:xfrm>
          <a:off x="638629" y="1600200"/>
          <a:ext cx="5457372" cy="435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91" name="TextBox 390">
            <a:extLst>
              <a:ext uri="{FF2B5EF4-FFF2-40B4-BE49-F238E27FC236}">
                <a16:creationId xmlns:a16="http://schemas.microsoft.com/office/drawing/2014/main" id="{9DFE239E-5D34-4A0C-9BD9-07B1E5C09F59}"/>
              </a:ext>
            </a:extLst>
          </p:cNvPr>
          <p:cNvSpPr txBox="1"/>
          <p:nvPr/>
        </p:nvSpPr>
        <p:spPr>
          <a:xfrm>
            <a:off x="6879771" y="2053771"/>
            <a:ext cx="4513943" cy="6994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/>
              <a:t>Cleaning: </a:t>
            </a:r>
            <a:r>
              <a:rPr lang="en-US"/>
              <a:t>Generating consistent data while creating relevant parameters</a:t>
            </a:r>
            <a:endParaRPr lang="en-US">
              <a:cs typeface="Arial"/>
            </a:endParaRP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F6B8B168-FAFA-4858-BFE0-C0A3D2E97BAF}"/>
              </a:ext>
            </a:extLst>
          </p:cNvPr>
          <p:cNvSpPr txBox="1"/>
          <p:nvPr/>
        </p:nvSpPr>
        <p:spPr>
          <a:xfrm>
            <a:off x="6386284" y="3294741"/>
            <a:ext cx="4513943" cy="9764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/>
              <a:t>Statistical Significance: </a:t>
            </a:r>
            <a:r>
              <a:rPr lang="en-US"/>
              <a:t>Conducting EDA to identify statistically significant differences across parameters</a:t>
            </a:r>
            <a:endParaRPr lang="en-US">
              <a:cs typeface="Arial"/>
            </a:endParaRP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49903BA7-62C0-446E-B036-DDC1469D3098}"/>
              </a:ext>
            </a:extLst>
          </p:cNvPr>
          <p:cNvSpPr txBox="1"/>
          <p:nvPr/>
        </p:nvSpPr>
        <p:spPr>
          <a:xfrm>
            <a:off x="5689597" y="4738912"/>
            <a:ext cx="4513943" cy="9764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/>
              <a:t>Analysis: </a:t>
            </a:r>
            <a:r>
              <a:rPr lang="en-US"/>
              <a:t>Selection of parameters to create highest probability for late arrival compensation</a:t>
            </a:r>
            <a:endParaRPr lang="en-US">
              <a:cs typeface="Arial"/>
            </a:endParaRPr>
          </a:p>
        </p:txBody>
      </p:sp>
      <p:cxnSp>
        <p:nvCxnSpPr>
          <p:cNvPr id="493" name="Straight Arrow Connector 492">
            <a:extLst>
              <a:ext uri="{FF2B5EF4-FFF2-40B4-BE49-F238E27FC236}">
                <a16:creationId xmlns:a16="http://schemas.microsoft.com/office/drawing/2014/main" id="{2A567D49-7C13-4B26-86A7-9B9309973627}"/>
              </a:ext>
            </a:extLst>
          </p:cNvPr>
          <p:cNvCxnSpPr/>
          <p:nvPr/>
        </p:nvCxnSpPr>
        <p:spPr>
          <a:xfrm>
            <a:off x="5592990" y="2374447"/>
            <a:ext cx="1284513" cy="7257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Arrow Connector 493">
            <a:extLst>
              <a:ext uri="{FF2B5EF4-FFF2-40B4-BE49-F238E27FC236}">
                <a16:creationId xmlns:a16="http://schemas.microsoft.com/office/drawing/2014/main" id="{7A02FBFF-163B-436C-B42D-6B743D0677CE}"/>
              </a:ext>
            </a:extLst>
          </p:cNvPr>
          <p:cNvCxnSpPr>
            <a:cxnSpLocks/>
          </p:cNvCxnSpPr>
          <p:nvPr/>
        </p:nvCxnSpPr>
        <p:spPr>
          <a:xfrm>
            <a:off x="4620532" y="3746047"/>
            <a:ext cx="1763484" cy="7257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Arrow Connector 494">
            <a:extLst>
              <a:ext uri="{FF2B5EF4-FFF2-40B4-BE49-F238E27FC236}">
                <a16:creationId xmlns:a16="http://schemas.microsoft.com/office/drawing/2014/main" id="{C76EF57A-D1F7-411E-891E-192392854465}"/>
              </a:ext>
            </a:extLst>
          </p:cNvPr>
          <p:cNvCxnSpPr>
            <a:cxnSpLocks/>
          </p:cNvCxnSpPr>
          <p:nvPr/>
        </p:nvCxnSpPr>
        <p:spPr>
          <a:xfrm flipV="1">
            <a:off x="3778703" y="5204732"/>
            <a:ext cx="1908626" cy="7257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325667ED-2E2E-469F-AAFE-B83591D5B95C}"/>
              </a:ext>
            </a:extLst>
          </p:cNvPr>
          <p:cNvSpPr/>
          <p:nvPr/>
        </p:nvSpPr>
        <p:spPr>
          <a:xfrm>
            <a:off x="5104263" y="4336575"/>
            <a:ext cx="5691116" cy="173326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0994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A1CA78-B5A3-4506-A92E-28E411F62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A1CA78-B5A3-4506-A92E-28E411F62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AC23F-BE64-414A-9021-E0C3385044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/>
              <a:t>Deep-Dive Analysi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A635CF-9E5A-4CBD-A52A-3EA15F0E0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GB">
                <a:cs typeface="Arial"/>
              </a:rPr>
              <a:t>NYC Airport Departures</a:t>
            </a:r>
          </a:p>
        </p:txBody>
      </p:sp>
    </p:spTree>
    <p:extLst>
      <p:ext uri="{BB962C8B-B14F-4D97-AF65-F5344CB8AC3E}">
        <p14:creationId xmlns:p14="http://schemas.microsoft.com/office/powerpoint/2010/main" val="2292696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D2499F0-DD07-41FA-A5B4-FF8C95B1FD65}"/>
              </a:ext>
            </a:extLst>
          </p:cNvPr>
          <p:cNvSpPr/>
          <p:nvPr/>
        </p:nvSpPr>
        <p:spPr>
          <a:xfrm>
            <a:off x="509239" y="1720385"/>
            <a:ext cx="2847277" cy="3900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3B75DBFE-45A2-4CE8-A2B4-2135FB323F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3B75DBFE-45A2-4CE8-A2B4-2135FB323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498D53A-5519-4D84-86C0-FF4938960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Season and Daytim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B0D565-AD8A-43FB-9BC2-B293E0F5A212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>
                <a:ea typeface="+mj-lt"/>
                <a:cs typeface="+mj-lt"/>
              </a:rPr>
              <a:t>Delay Amasses Throughout the Day and Peaks at Evening Times</a:t>
            </a:r>
            <a:endParaRPr lang="en-US"/>
          </a:p>
        </p:txBody>
      </p:sp>
      <p:pic>
        <p:nvPicPr>
          <p:cNvPr id="13" name="Picture 14" descr="A picture containing histogram&#10;&#10;Description automatically generated">
            <a:extLst>
              <a:ext uri="{FF2B5EF4-FFF2-40B4-BE49-F238E27FC236}">
                <a16:creationId xmlns:a16="http://schemas.microsoft.com/office/drawing/2014/main" id="{A2801E10-9B35-422E-9D43-A589362A67C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700" t="-617" r="545" b="3704"/>
          <a:stretch/>
        </p:blipFill>
        <p:spPr>
          <a:xfrm>
            <a:off x="3748722" y="1483308"/>
            <a:ext cx="7971303" cy="43735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02ECBA58-9F9D-4B8D-9D4E-4A89B8052EC6}"/>
              </a:ext>
            </a:extLst>
          </p:cNvPr>
          <p:cNvSpPr txBox="1"/>
          <p:nvPr/>
        </p:nvSpPr>
        <p:spPr>
          <a:xfrm>
            <a:off x="647577" y="2248405"/>
            <a:ext cx="2671281" cy="2361398"/>
          </a:xfrm>
          <a:prstGeom prst="rect">
            <a:avLst/>
          </a:prstGeom>
          <a:noFill/>
        </p:spPr>
        <p:txBody>
          <a:bodyPr wrap="square" lIns="72000" tIns="72000" rIns="72000" bIns="7200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b="1" err="1"/>
              <a:t>Summer</a:t>
            </a:r>
            <a:r>
              <a:rPr lang="it-IT"/>
              <a:t> </a:t>
            </a:r>
            <a:r>
              <a:rPr lang="it-IT" err="1"/>
              <a:t>period</a:t>
            </a:r>
            <a:r>
              <a:rPr lang="it-IT"/>
              <a:t> </a:t>
            </a:r>
            <a:r>
              <a:rPr lang="it-IT" err="1"/>
              <a:t>is</a:t>
            </a:r>
            <a:r>
              <a:rPr lang="it-IT"/>
              <a:t> the </a:t>
            </a:r>
            <a:r>
              <a:rPr lang="it-IT" err="1"/>
              <a:t>most</a:t>
            </a:r>
            <a:r>
              <a:rPr lang="it-IT"/>
              <a:t> sensitive to </a:t>
            </a:r>
            <a:r>
              <a:rPr lang="it-IT" err="1"/>
              <a:t>arrival</a:t>
            </a:r>
            <a:r>
              <a:rPr lang="it-IT"/>
              <a:t> delays</a:t>
            </a:r>
          </a:p>
          <a:p>
            <a:pPr algn="l"/>
            <a:endParaRPr lang="it-IT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b="1"/>
              <a:t>Evening</a:t>
            </a:r>
            <a:r>
              <a:rPr lang="it-IT"/>
              <a:t> and </a:t>
            </a:r>
            <a:r>
              <a:rPr lang="it-IT" b="1"/>
              <a:t>night</a:t>
            </a:r>
            <a:r>
              <a:rPr lang="it-IT"/>
              <a:t> </a:t>
            </a:r>
            <a:r>
              <a:rPr lang="it-IT" err="1"/>
              <a:t>have</a:t>
            </a:r>
            <a:r>
              <a:rPr lang="it-IT"/>
              <a:t> the </a:t>
            </a:r>
            <a:r>
              <a:rPr lang="it-IT" err="1"/>
              <a:t>highest</a:t>
            </a:r>
            <a:r>
              <a:rPr lang="it-IT"/>
              <a:t> </a:t>
            </a:r>
            <a:r>
              <a:rPr lang="it-IT" err="1"/>
              <a:t>average</a:t>
            </a:r>
            <a:r>
              <a:rPr lang="it-IT"/>
              <a:t> delay in </a:t>
            </a:r>
            <a:r>
              <a:rPr lang="it-IT" err="1"/>
              <a:t>summer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78010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tsO_VStK.pZg3xB0G6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0</TotalTime>
  <Words>434</Words>
  <Application>Microsoft Macintosh PowerPoint</Application>
  <PresentationFormat>Widescreen</PresentationFormat>
  <Paragraphs>9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Flight Delays in the U.S.</vt:lpstr>
      <vt:lpstr>PowerPoint Presentation</vt:lpstr>
      <vt:lpstr>PowerPoint Presentation</vt:lpstr>
      <vt:lpstr>Travel Hack for U.S. GIFTs</vt:lpstr>
      <vt:lpstr>PowerPoint Presentation</vt:lpstr>
      <vt:lpstr>Kaggle Dataset: New York City Airport Activity </vt:lpstr>
      <vt:lpstr>Top-Down Approach </vt:lpstr>
      <vt:lpstr>PowerPoint Presentation</vt:lpstr>
      <vt:lpstr>Season and Daytime</vt:lpstr>
      <vt:lpstr>Airlines</vt:lpstr>
      <vt:lpstr>NYC Airports</vt:lpstr>
      <vt:lpstr>Destinations</vt:lpstr>
      <vt:lpstr>PowerPoint Presentation</vt:lpstr>
      <vt:lpstr>Conclusion </vt:lpstr>
      <vt:lpstr>PowerPoint Presentation</vt:lpstr>
      <vt:lpstr>Discussion &amp; Critique </vt:lpstr>
      <vt:lpstr>PowerPoint Presentation</vt:lpstr>
      <vt:lpstr>Appendix</vt:lpstr>
      <vt:lpstr>PowerPoint Presentation</vt:lpstr>
      <vt:lpstr>PowerPoint Presentation</vt:lpstr>
    </vt:vector>
  </TitlesOfParts>
  <Company>London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Vanessa Ruffett</dc:creator>
  <cp:lastModifiedBy>Ferdinand Julius Wohlenberg</cp:lastModifiedBy>
  <cp:revision>1</cp:revision>
  <dcterms:created xsi:type="dcterms:W3CDTF">2019-04-15T07:50:06Z</dcterms:created>
  <dcterms:modified xsi:type="dcterms:W3CDTF">2021-12-01T01:22:18Z</dcterms:modified>
</cp:coreProperties>
</file>